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6" r:id="rId1"/>
    <p:sldMasterId id="2147483749" r:id="rId2"/>
  </p:sldMasterIdLst>
  <p:notesMasterIdLst>
    <p:notesMasterId r:id="rId18"/>
  </p:notesMasterIdLst>
  <p:handoutMasterIdLst>
    <p:handoutMasterId r:id="rId19"/>
  </p:handoutMasterIdLst>
  <p:sldIdLst>
    <p:sldId id="323" r:id="rId3"/>
    <p:sldId id="324" r:id="rId4"/>
    <p:sldId id="311" r:id="rId5"/>
    <p:sldId id="367" r:id="rId6"/>
    <p:sldId id="349" r:id="rId7"/>
    <p:sldId id="358" r:id="rId8"/>
    <p:sldId id="368" r:id="rId9"/>
    <p:sldId id="369" r:id="rId10"/>
    <p:sldId id="370" r:id="rId11"/>
    <p:sldId id="360" r:id="rId12"/>
    <p:sldId id="371" r:id="rId13"/>
    <p:sldId id="372" r:id="rId14"/>
    <p:sldId id="373" r:id="rId15"/>
    <p:sldId id="374" r:id="rId16"/>
    <p:sldId id="375" r:id="rId17"/>
  </p:sldIdLst>
  <p:sldSz cx="9144000" cy="6858000" type="screen4x3"/>
  <p:notesSz cx="6858000" cy="9144000"/>
  <p:defaultTextStyle>
    <a:defPPr>
      <a:defRPr lang="en-US"/>
    </a:defPPr>
    <a:lvl1pPr marL="0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354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3062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653"/>
    <a:srgbClr val="FFCC66"/>
    <a:srgbClr val="F9BE00"/>
    <a:srgbClr val="FA8D29"/>
    <a:srgbClr val="F7B334"/>
    <a:srgbClr val="6F6F73"/>
    <a:srgbClr val="EF7622"/>
    <a:srgbClr val="C4DA5A"/>
    <a:srgbClr val="CB4398"/>
    <a:srgbClr val="F9A11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36" autoAdjust="0"/>
    <p:restoredTop sz="99520" autoAdjust="0"/>
  </p:normalViewPr>
  <p:slideViewPr>
    <p:cSldViewPr snapToGrid="0" snapToObjects="1">
      <p:cViewPr varScale="1">
        <p:scale>
          <a:sx n="113" d="100"/>
          <a:sy n="113" d="100"/>
        </p:scale>
        <p:origin x="-1500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r">
              <a:defRPr sz="1200"/>
            </a:lvl1pPr>
          </a:lstStyle>
          <a:p>
            <a:fld id="{680A23AC-7150-364F-987A-5F47E79D1B13}" type="datetimeFigureOut">
              <a:rPr lang="en-US" smtClean="0"/>
              <a:t>8/7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685213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r">
              <a:defRPr sz="1200"/>
            </a:lvl1pPr>
          </a:lstStyle>
          <a:p>
            <a:fld id="{A2FFAB93-3F4B-F349-BD0A-FE14ED8565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7215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r">
              <a:defRPr sz="1200"/>
            </a:lvl1pPr>
          </a:lstStyle>
          <a:p>
            <a:fld id="{E0705641-FB27-7B4E-B4C1-050F58A69A04}" type="datetimeFigureOut">
              <a:rPr lang="en-US" smtClean="0"/>
              <a:t>8/7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8" tIns="45714" rIns="91428" bIns="4571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1"/>
            <a:ext cx="5486400" cy="4114800"/>
          </a:xfrm>
          <a:prstGeom prst="rect">
            <a:avLst/>
          </a:prstGeom>
        </p:spPr>
        <p:txBody>
          <a:bodyPr vert="horz" lIns="91428" tIns="45714" rIns="91428" bIns="4571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685213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r">
              <a:defRPr sz="1200"/>
            </a:lvl1pPr>
          </a:lstStyle>
          <a:p>
            <a:fld id="{0298BAAB-21E0-0B46-B02F-0D23D2293A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05369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54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62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9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9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9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9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9.png"/><Relationship Id="rId5" Type="http://schemas.openxmlformats.org/officeDocument/2006/relationships/image" Target="../media/image14.png"/><Relationship Id="rId4" Type="http://schemas.openxmlformats.org/officeDocument/2006/relationships/image" Target="../media/image18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19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PATTERNS_PPT-05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8049"/>
          <a:stretch/>
        </p:blipFill>
        <p:spPr>
          <a:xfrm>
            <a:off x="0" y="-22677"/>
            <a:ext cx="9144000" cy="535258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" y="3733804"/>
            <a:ext cx="7772400" cy="1470025"/>
          </a:xfrm>
        </p:spPr>
        <p:txBody>
          <a:bodyPr>
            <a:normAutofit/>
          </a:bodyPr>
          <a:lstStyle>
            <a:lvl1pPr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is Arial </a:t>
            </a:r>
            <a:r>
              <a:rPr lang="en-US" dirty="0" err="1" smtClean="0"/>
              <a:t>36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ld, Two Li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" y="5715008"/>
            <a:ext cx="6400800" cy="685801"/>
          </a:xfrm>
        </p:spPr>
        <p:txBody>
          <a:bodyPr>
            <a:normAutofit/>
          </a:bodyPr>
          <a:lstStyle>
            <a:lvl1pPr marL="0" indent="0" algn="l">
              <a:buNone/>
              <a:defRPr sz="190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goes here</a:t>
            </a:r>
          </a:p>
          <a:p>
            <a:r>
              <a:rPr lang="en-US" dirty="0" smtClean="0"/>
              <a:t>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272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F8946A2B-3962-43D9-A9AC-0B639D6E6C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0234052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F707A39C-6B6E-4424-A066-EF69EFEB02E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539883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F5D580AB-4855-4F38-BEC4-BF77649CFF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="" xmlns:a16="http://schemas.microsoft.com/office/drawing/2014/main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sp>
        <p:nvSpPr>
          <p:cNvPr id="18" name="Content Placeholder 10">
            <a:extLst>
              <a:ext uri="{FF2B5EF4-FFF2-40B4-BE49-F238E27FC236}">
                <a16:creationId xmlns="" xmlns:a16="http://schemas.microsoft.com/office/drawing/2014/main" id="{1C346A6D-A8C7-48DA-BABE-75F550246CF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6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246360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4071EEB4-0713-44D0-8965-567106CDF3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6456928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AB314FA4-E6E7-4D03-8DD9-F5AE42C93CF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F5D580AB-4855-4F38-BEC4-BF77649CFF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="" xmlns:a16="http://schemas.microsoft.com/office/drawing/2014/main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sp>
        <p:nvSpPr>
          <p:cNvPr id="14" name="Content Placeholder 10">
            <a:extLst>
              <a:ext uri="{FF2B5EF4-FFF2-40B4-BE49-F238E27FC236}">
                <a16:creationId xmlns="" xmlns:a16="http://schemas.microsoft.com/office/drawing/2014/main" id="{D629A0EF-2B2E-4538-AF2D-10FC340A2D6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6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="" xmlns:a16="http://schemas.microsoft.com/office/drawing/2014/main" id="{D2317086-9595-40B1-9E08-042F8E4197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350331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="" xmlns:a16="http://schemas.microsoft.com/office/drawing/2014/main" id="{5D254E50-C88B-4570-9664-F94138A037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3" y="935711"/>
            <a:ext cx="7266432" cy="292388"/>
          </a:xfrm>
        </p:spPr>
        <p:txBody>
          <a:bodyPr/>
          <a:lstStyle>
            <a:lvl1pPr algn="l">
              <a:spcBef>
                <a:spcPts val="0"/>
              </a:spcBef>
              <a:spcAft>
                <a:spcPts val="1600"/>
              </a:spcAft>
              <a:defRPr sz="19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500"/>
            </a:lvl4pPr>
            <a:lvl5pPr>
              <a:defRPr sz="300"/>
            </a:lvl5pPr>
          </a:lstStyle>
          <a:p>
            <a:pPr lvl="0"/>
            <a:r>
              <a:rPr lang="en-US" dirty="0"/>
              <a:t>Subtitle in sentence case, 14-pt</a:t>
            </a:r>
          </a:p>
        </p:txBody>
      </p:sp>
    </p:spTree>
    <p:extLst>
      <p:ext uri="{BB962C8B-B14F-4D97-AF65-F5344CB8AC3E}">
        <p14:creationId xmlns:p14="http://schemas.microsoft.com/office/powerpoint/2010/main" val="42335101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67E08570-4DF1-47AB-BB6E-4A2429FFC4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6807540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5D3C3B4E-FBE6-49B5-AA23-479CE81E7B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6" y="539883"/>
            <a:ext cx="7269233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="" xmlns:a16="http://schemas.microsoft.com/office/drawing/2014/main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EE4C5AE3-3943-4AAD-B1CB-AAF9D9743CFF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8284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10">
            <a:extLst>
              <a:ext uri="{FF2B5EF4-FFF2-40B4-BE49-F238E27FC236}">
                <a16:creationId xmlns="" xmlns:a16="http://schemas.microsoft.com/office/drawing/2014/main" id="{674A073C-DAC7-41A9-9707-4BA3948880B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6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0">
            <a:extLst>
              <a:ext uri="{FF2B5EF4-FFF2-40B4-BE49-F238E27FC236}">
                <a16:creationId xmlns="" xmlns:a16="http://schemas.microsoft.com/office/drawing/2014/main" id="{9400112F-566B-4C6D-862A-1FB81078161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68358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21118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6F13CB6D-B967-4051-B96F-5DDE63DCA1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8209488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7E0B56BE-3ADA-4DD6-AF5B-4C1C7ADF97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="" xmlns:a16="http://schemas.microsoft.com/office/drawing/2014/main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5780DF13-1FE3-4F42-A9BE-086BE52EDF7B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8284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10">
            <a:extLst>
              <a:ext uri="{FF2B5EF4-FFF2-40B4-BE49-F238E27FC236}">
                <a16:creationId xmlns="" xmlns:a16="http://schemas.microsoft.com/office/drawing/2014/main" id="{D806BC1A-BA58-43FE-B0DF-12489776F6B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6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0">
            <a:extLst>
              <a:ext uri="{FF2B5EF4-FFF2-40B4-BE49-F238E27FC236}">
                <a16:creationId xmlns="" xmlns:a16="http://schemas.microsoft.com/office/drawing/2014/main" id="{2FBA26A4-FF75-4A2C-BED4-B177AC712ED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68358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="" xmlns:a16="http://schemas.microsoft.com/office/drawing/2014/main" id="{8995C69E-73AA-43AC-BB8A-57CA3AE21B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350331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="" xmlns:a16="http://schemas.microsoft.com/office/drawing/2014/main" id="{29C63470-0E4A-45F0-A0C6-A0FC9B7DCE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3" y="935711"/>
            <a:ext cx="7266432" cy="292388"/>
          </a:xfrm>
        </p:spPr>
        <p:txBody>
          <a:bodyPr/>
          <a:lstStyle>
            <a:lvl1pPr algn="l">
              <a:spcBef>
                <a:spcPts val="0"/>
              </a:spcBef>
              <a:spcAft>
                <a:spcPts val="1600"/>
              </a:spcAft>
              <a:defRPr sz="19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500"/>
            </a:lvl4pPr>
            <a:lvl5pPr>
              <a:defRPr sz="300"/>
            </a:lvl5pPr>
          </a:lstStyle>
          <a:p>
            <a:pPr lvl="0"/>
            <a:r>
              <a:rPr lang="en-US"/>
              <a:t>Subtitle in sentence case, 14-pt</a:t>
            </a:r>
          </a:p>
        </p:txBody>
      </p:sp>
    </p:spTree>
    <p:extLst>
      <p:ext uri="{BB962C8B-B14F-4D97-AF65-F5344CB8AC3E}">
        <p14:creationId xmlns:p14="http://schemas.microsoft.com/office/powerpoint/2010/main" val="40648473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55EE0896-5D0B-4957-8B66-9B539E8F8F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9142744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D2D1C920-7E86-433A-878E-1A2DA5FD1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539883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="" xmlns:a16="http://schemas.microsoft.com/office/drawing/2014/main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C3C62558-6CA7-4E6F-B2C6-55A69D010CD8}"/>
              </a:ext>
            </a:extLst>
          </p:cNvPr>
          <p:cNvCxnSpPr>
            <a:cxnSpLocks/>
          </p:cNvCxnSpPr>
          <p:nvPr userDrawn="1"/>
        </p:nvCxnSpPr>
        <p:spPr>
          <a:xfrm flipV="1">
            <a:off x="5388865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42A7777B-8080-433E-BEF8-BB44E850769F}"/>
              </a:ext>
            </a:extLst>
          </p:cNvPr>
          <p:cNvCxnSpPr>
            <a:cxnSpLocks/>
          </p:cNvCxnSpPr>
          <p:nvPr userDrawn="1"/>
        </p:nvCxnSpPr>
        <p:spPr>
          <a:xfrm flipV="1">
            <a:off x="2791969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10">
            <a:extLst>
              <a:ext uri="{FF2B5EF4-FFF2-40B4-BE49-F238E27FC236}">
                <a16:creationId xmlns="" xmlns:a16="http://schemas.microsoft.com/office/drawing/2014/main" id="{1A6400C6-76AF-421D-9493-42B098530957}"/>
              </a:ext>
            </a:extLst>
          </p:cNvPr>
          <p:cNvSpPr>
            <a:spLocks noGrp="1"/>
          </p:cNvSpPr>
          <p:nvPr userDrawn="1">
            <p:ph sz="quarter" idx="13"/>
          </p:nvPr>
        </p:nvSpPr>
        <p:spPr>
          <a:xfrm>
            <a:off x="457201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="" xmlns:a16="http://schemas.microsoft.com/office/drawing/2014/main" id="{F16DCEF4-F81E-437B-9456-190F4ABCBA1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054097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0">
            <a:extLst>
              <a:ext uri="{FF2B5EF4-FFF2-40B4-BE49-F238E27FC236}">
                <a16:creationId xmlns="" xmlns:a16="http://schemas.microsoft.com/office/drawing/2014/main" id="{EA096858-1EFD-4CFA-8CED-73FB0E537B7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650995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23751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9AD71BC4-BBBC-47C0-8ABB-BDB50C6FE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4537230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9F112B40-2A8B-4F27-B993-92670BD19B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="" xmlns:a16="http://schemas.microsoft.com/office/drawing/2014/main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813E97A0-A00D-4FD0-8D61-E83DF8C60F34}"/>
              </a:ext>
            </a:extLst>
          </p:cNvPr>
          <p:cNvCxnSpPr>
            <a:cxnSpLocks/>
          </p:cNvCxnSpPr>
          <p:nvPr userDrawn="1"/>
        </p:nvCxnSpPr>
        <p:spPr>
          <a:xfrm flipV="1">
            <a:off x="5388865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ECBE94A0-08CE-4DB7-BD8F-12D176FDA349}"/>
              </a:ext>
            </a:extLst>
          </p:cNvPr>
          <p:cNvCxnSpPr>
            <a:cxnSpLocks/>
          </p:cNvCxnSpPr>
          <p:nvPr userDrawn="1"/>
        </p:nvCxnSpPr>
        <p:spPr>
          <a:xfrm flipV="1">
            <a:off x="2791969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10">
            <a:extLst>
              <a:ext uri="{FF2B5EF4-FFF2-40B4-BE49-F238E27FC236}">
                <a16:creationId xmlns="" xmlns:a16="http://schemas.microsoft.com/office/drawing/2014/main" id="{0CC8433D-867B-4F1A-A3B7-05A95CF778A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1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0">
            <a:extLst>
              <a:ext uri="{FF2B5EF4-FFF2-40B4-BE49-F238E27FC236}">
                <a16:creationId xmlns="" xmlns:a16="http://schemas.microsoft.com/office/drawing/2014/main" id="{D1678384-C475-4500-8C3C-327B02A18D1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054097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0">
            <a:extLst>
              <a:ext uri="{FF2B5EF4-FFF2-40B4-BE49-F238E27FC236}">
                <a16:creationId xmlns="" xmlns:a16="http://schemas.microsoft.com/office/drawing/2014/main" id="{791665ED-B373-4917-8FE2-2E6514A816A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650995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37BF74DD-DCF4-4DAD-85DF-828FD80880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350331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="" xmlns:a16="http://schemas.microsoft.com/office/drawing/2014/main" id="{939048E9-8F87-40E8-89CC-C980E06B9A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3" y="935711"/>
            <a:ext cx="7266432" cy="292388"/>
          </a:xfrm>
        </p:spPr>
        <p:txBody>
          <a:bodyPr/>
          <a:lstStyle>
            <a:lvl1pPr algn="l">
              <a:spcBef>
                <a:spcPts val="0"/>
              </a:spcBef>
              <a:spcAft>
                <a:spcPts val="1600"/>
              </a:spcAft>
              <a:defRPr sz="19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500"/>
            </a:lvl4pPr>
            <a:lvl5pPr>
              <a:defRPr sz="300"/>
            </a:lvl5pPr>
          </a:lstStyle>
          <a:p>
            <a:pPr lvl="0"/>
            <a:r>
              <a:rPr lang="en-US" dirty="0"/>
              <a:t>Subtitle in sentence case, 14-pt</a:t>
            </a:r>
          </a:p>
        </p:txBody>
      </p:sp>
    </p:spTree>
    <p:extLst>
      <p:ext uri="{BB962C8B-B14F-4D97-AF65-F5344CB8AC3E}">
        <p14:creationId xmlns:p14="http://schemas.microsoft.com/office/powerpoint/2010/main" val="25808631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Screensh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416971"/>
            <a:ext cx="7266432" cy="205184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1300"/>
            </a:lvl1pPr>
          </a:lstStyle>
          <a:p>
            <a:r>
              <a:rPr lang="en-US"/>
              <a:t>For screenshots only: Title here, 10-p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="" xmlns:a16="http://schemas.microsoft.com/office/drawing/2014/main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773856"/>
            <a:ext cx="8156568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A53D8110-2103-4163-B0EE-8146662AABA9}"/>
              </a:ext>
            </a:extLst>
          </p:cNvPr>
          <p:cNvCxnSpPr>
            <a:cxnSpLocks/>
          </p:cNvCxnSpPr>
          <p:nvPr userDrawn="1"/>
        </p:nvCxnSpPr>
        <p:spPr>
          <a:xfrm>
            <a:off x="264161" y="773856"/>
            <a:ext cx="0" cy="608414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="" xmlns:a16="http://schemas.microsoft.com/office/drawing/2014/main" id="{1D7669B4-0262-435A-AFF4-C387B0B082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776" y="1428093"/>
            <a:ext cx="7000624" cy="4470275"/>
          </a:xfrm>
          <a:prstGeom prst="rect">
            <a:avLst/>
          </a:prstGeom>
        </p:spPr>
      </p:pic>
      <p:sp>
        <p:nvSpPr>
          <p:cNvPr id="21" name="Picture Placeholder 4">
            <a:extLst>
              <a:ext uri="{FF2B5EF4-FFF2-40B4-BE49-F238E27FC236}">
                <a16:creationId xmlns="" xmlns:a16="http://schemas.microsoft.com/office/drawing/2014/main" id="{6FE3AE98-44FF-46EA-B956-AB54180B266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513205" y="1748237"/>
            <a:ext cx="5344795" cy="3376213"/>
          </a:xfrm>
          <a:ln w="6350">
            <a:solidFill>
              <a:schemeClr val="tx1">
                <a:lumMod val="25000"/>
                <a:lumOff val="75000"/>
              </a:schemeClr>
            </a:solidFill>
          </a:ln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Footer Placeholder 22">
            <a:extLst>
              <a:ext uri="{FF2B5EF4-FFF2-40B4-BE49-F238E27FC236}">
                <a16:creationId xmlns="" xmlns:a16="http://schemas.microsoft.com/office/drawing/2014/main" id="{23C2761D-88C6-423D-A8C2-9E28F6C2DE3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24" name="Slide Number Placeholder 23">
            <a:extLst>
              <a:ext uri="{FF2B5EF4-FFF2-40B4-BE49-F238E27FC236}">
                <a16:creationId xmlns="" xmlns:a16="http://schemas.microsoft.com/office/drawing/2014/main" id="{7431E698-9189-4C0E-BE43-0D67787C1E1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7354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712495DF-E9DC-4DB1-A6C3-541A9B8E30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2733963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484B992A-7990-44DB-B615-A6B1456BCE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539883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C7CBE550-AE45-4BA8-99F6-0CB5850E5B4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F7D9B38D-7280-475D-9C81-8E7279EE2A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29568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7A28B6DD-4567-4F0A-B3C6-D7E3DAFEAA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9481171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1CF7FFFA-E7DB-400D-949B-CA570CD45B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B7BA578C-A7FC-4149-91BF-22EFF5D614C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1D73F942-AA81-45A2-89A3-FD8278DB7C2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5F3F5C6A-3AAA-4E1E-A485-ECF3DAD320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350331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="" xmlns:a16="http://schemas.microsoft.com/office/drawing/2014/main" id="{E16EAE5D-BADF-438E-AF5B-D4639F452C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3" y="935711"/>
            <a:ext cx="7266432" cy="292388"/>
          </a:xfrm>
        </p:spPr>
        <p:txBody>
          <a:bodyPr/>
          <a:lstStyle>
            <a:lvl1pPr algn="l">
              <a:spcBef>
                <a:spcPts val="0"/>
              </a:spcBef>
              <a:spcAft>
                <a:spcPts val="1600"/>
              </a:spcAft>
              <a:defRPr sz="19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500"/>
            </a:lvl4pPr>
            <a:lvl5pPr>
              <a:defRPr sz="300"/>
            </a:lvl5pPr>
          </a:lstStyle>
          <a:p>
            <a:pPr lvl="0"/>
            <a:r>
              <a:rPr lang="en-US" dirty="0"/>
              <a:t>Subtitle in sentence case, 14-pt</a:t>
            </a:r>
          </a:p>
        </p:txBody>
      </p:sp>
    </p:spTree>
    <p:extLst>
      <p:ext uri="{BB962C8B-B14F-4D97-AF65-F5344CB8AC3E}">
        <p14:creationId xmlns:p14="http://schemas.microsoft.com/office/powerpoint/2010/main" val="30951667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 Slide #2">
    <p:bg>
      <p:bgPr>
        <a:solidFill>
          <a:srgbClr val="FC91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>
            <a:extLst>
              <a:ext uri="{FF2B5EF4-FFF2-40B4-BE49-F238E27FC236}">
                <a16:creationId xmlns:a16="http://schemas.microsoft.com/office/drawing/2014/main" xmlns="" id="{45205851-5C4F-485B-80B9-465BE104B44D}"/>
              </a:ext>
            </a:extLst>
          </p:cNvPr>
          <p:cNvSpPr txBox="1">
            <a:spLocks/>
          </p:cNvSpPr>
          <p:nvPr userDrawn="1"/>
        </p:nvSpPr>
        <p:spPr>
          <a:xfrm>
            <a:off x="795561" y="4457624"/>
            <a:ext cx="4055813" cy="828977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600" b="1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2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0" indent="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spcAft>
                <a:spcPts val="800"/>
              </a:spcAft>
              <a:buClr>
                <a:schemeClr val="accent6"/>
              </a:buClr>
              <a:buFont typeface="Arial"/>
              <a:buChar char="–"/>
              <a:defRPr sz="16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AU" sz="1800" b="0" dirty="0">
              <a:latin typeface="Museo 700" panose="02000000000000000000" pitchFamily="50" charset="0"/>
            </a:endParaRP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xmlns="" id="{23B28F31-6AA3-4148-B16C-0F09B783EE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47960" y="4713528"/>
            <a:ext cx="4055840" cy="276999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endParaRPr lang="en-AU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xmlns="" id="{E882DF4B-D0D0-4424-A70A-B6E98D0B37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771901"/>
            <a:ext cx="4056062" cy="215444"/>
          </a:xfrm>
          <a:prstGeom prst="rect">
            <a:avLst/>
          </a:prstGeo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endParaRPr lang="en-AU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xmlns="" id="{5C2950EF-6974-42F9-9996-78052E0909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25886" y="1953211"/>
            <a:ext cx="4332603" cy="164930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46077A2E-8026-4E89-9DE8-C8DCFBAF3B0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" y="4350388"/>
            <a:ext cx="5800299" cy="12628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2CAB893D-172A-4F2D-BE32-4532335E07B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8773" y="5971266"/>
            <a:ext cx="1249767" cy="74670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xmlns="" id="{CDD9FB90-2F61-4566-9127-496AC3A1F2F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219860" y="6129337"/>
            <a:ext cx="2048078" cy="57097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xmlns="" id="{94A2D86B-E488-4C35-A7E8-A9511861215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16200000">
            <a:off x="7154885" y="279538"/>
            <a:ext cx="2272263" cy="1705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452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u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minimum-03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5" y="5485304"/>
            <a:ext cx="1505715" cy="1386539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332147" y="332145"/>
            <a:ext cx="1371600" cy="2286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7472" y="590910"/>
            <a:ext cx="8412480" cy="85689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7472" y="1600203"/>
            <a:ext cx="8412480" cy="4190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685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cknowledgement to Count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70B0DF56-0506-4C2E-A88B-60F6EBEFFC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6200000">
            <a:off x="8373534" y="101960"/>
            <a:ext cx="880533" cy="6604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2A60F443-1771-4067-A72B-F7D54667628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02454" y="6022125"/>
            <a:ext cx="1434707" cy="545279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F2C4A6C0-2CAB-403B-A164-09F1E31F1107}"/>
              </a:ext>
            </a:extLst>
          </p:cNvPr>
          <p:cNvSpPr/>
          <p:nvPr userDrawn="1"/>
        </p:nvSpPr>
        <p:spPr>
          <a:xfrm>
            <a:off x="628651" y="2400302"/>
            <a:ext cx="7600948" cy="2708845"/>
          </a:xfrm>
          <a:prstGeom prst="rect">
            <a:avLst/>
          </a:prstGeom>
          <a:solidFill>
            <a:srgbClr val="FCC39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>
              <a:solidFill>
                <a:srgbClr val="FC9147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60184FE-1281-4009-822A-1CACB6301359}"/>
              </a:ext>
            </a:extLst>
          </p:cNvPr>
          <p:cNvSpPr txBox="1"/>
          <p:nvPr userDrawn="1"/>
        </p:nvSpPr>
        <p:spPr>
          <a:xfrm>
            <a:off x="925697" y="2802627"/>
            <a:ext cx="700685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dirty="0">
                <a:latin typeface="Arial" panose="020B0604020202020204" pitchFamily="34" charset="0"/>
                <a:cs typeface="Arial" panose="020B0604020202020204" pitchFamily="34" charset="0"/>
              </a:rPr>
              <a:t>Acknowledgment to Country on behalf of RMIT, I’d like to acknowledge the people of the </a:t>
            </a:r>
            <a:r>
              <a:rPr lang="en-AU" sz="1600" dirty="0" err="1">
                <a:latin typeface="Arial" panose="020B0604020202020204" pitchFamily="34" charset="0"/>
                <a:cs typeface="Arial" panose="020B0604020202020204" pitchFamily="34" charset="0"/>
              </a:rPr>
              <a:t>Woi</a:t>
            </a:r>
            <a:r>
              <a:rPr lang="en-AU" sz="1600" dirty="0">
                <a:latin typeface="Arial" panose="020B0604020202020204" pitchFamily="34" charset="0"/>
                <a:cs typeface="Arial" panose="020B0604020202020204" pitchFamily="34" charset="0"/>
              </a:rPr>
              <a:t> wurrung and Boon wurrung language groups of the eastern Kulin Nations on whose </a:t>
            </a:r>
            <a:r>
              <a:rPr lang="en-AU" sz="1600" dirty="0" err="1">
                <a:latin typeface="Arial" panose="020B0604020202020204" pitchFamily="34" charset="0"/>
                <a:cs typeface="Arial" panose="020B0604020202020204" pitchFamily="34" charset="0"/>
              </a:rPr>
              <a:t>unceded</a:t>
            </a:r>
            <a:r>
              <a:rPr lang="en-AU" sz="1600" dirty="0">
                <a:latin typeface="Arial" panose="020B0604020202020204" pitchFamily="34" charset="0"/>
                <a:cs typeface="Arial" panose="020B0604020202020204" pitchFamily="34" charset="0"/>
              </a:rPr>
              <a:t> lands we conduct the business of the University. And say that RMIT University respectfully acknowledges their Ancestors and Elders, past and present.</a:t>
            </a:r>
          </a:p>
          <a:p>
            <a:endParaRPr lang="en-A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19C581FC-DDA3-49D1-9231-3D94A68AD04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287757" y="3754724"/>
            <a:ext cx="930546" cy="1345125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5201287E-450F-4659-B58C-FEA0E07E0060}"/>
              </a:ext>
            </a:extLst>
          </p:cNvPr>
          <p:cNvSpPr txBox="1"/>
          <p:nvPr userDrawn="1"/>
        </p:nvSpPr>
        <p:spPr>
          <a:xfrm>
            <a:off x="435015" y="166584"/>
            <a:ext cx="7495821" cy="553998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l"/>
            <a:r>
              <a:rPr lang="en-AU" sz="3000" b="1" dirty="0">
                <a:latin typeface="Arial" panose="020B0604020202020204" pitchFamily="34" charset="0"/>
                <a:cs typeface="Arial" panose="020B0604020202020204" pitchFamily="34" charset="0"/>
              </a:rPr>
              <a:t>Acknowledgement to Country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xmlns="" id="{DB1BF834-B151-47C0-9B9D-E9492E6654E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219860" y="6129337"/>
            <a:ext cx="2048078" cy="57097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7D574F6F-7A96-4D4B-8786-6970878F717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84615" y="936019"/>
            <a:ext cx="6006952" cy="218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650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70B0DF56-0506-4C2E-A88B-60F6EBEFFC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6200000">
            <a:off x="8373534" y="101960"/>
            <a:ext cx="880533" cy="6604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2A60F443-1771-4067-A72B-F7D54667628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02454" y="6022125"/>
            <a:ext cx="1434707" cy="54527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C8481A2B-62B9-48DD-A387-E3B7299AFBC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84615" y="936019"/>
            <a:ext cx="6006952" cy="218355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D3D431E7-1779-4856-BB5E-3D96BD97AFA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4975" y="194035"/>
            <a:ext cx="7886700" cy="461665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xmlns="" id="{E6BDD548-C138-4BCA-96B1-4F02E008C9D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4975" y="1787143"/>
            <a:ext cx="7886700" cy="276999"/>
          </a:xfrm>
          <a:prstGeom prst="rect">
            <a:avLst/>
          </a:prstGeom>
        </p:spPr>
        <p:txBody>
          <a:bodyPr/>
          <a:lstStyle>
            <a:lvl1pPr>
              <a:defRPr sz="1800" b="0"/>
            </a:lvl1pPr>
          </a:lstStyle>
          <a:p>
            <a:endParaRPr lang="en-AU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EB1EF1F2-803C-4B97-B575-D4EFC537B41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219860" y="6129337"/>
            <a:ext cx="2048078" cy="570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019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557F834C-B40F-4839-A70C-44BF2FBA51D7}"/>
              </a:ext>
            </a:extLst>
          </p:cNvPr>
          <p:cNvSpPr/>
          <p:nvPr userDrawn="1"/>
        </p:nvSpPr>
        <p:spPr>
          <a:xfrm>
            <a:off x="4798540" y="4572003"/>
            <a:ext cx="4345461" cy="22859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914332"/>
            <a:endParaRPr lang="en-US" sz="500" dirty="0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98D19FB4-9800-49FF-8C0D-2A644C3803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7341" y="5477420"/>
            <a:ext cx="949463" cy="6835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2C2D45D4-A086-4D25-9030-AC6B1BF9A4EA}"/>
              </a:ext>
            </a:extLst>
          </p:cNvPr>
          <p:cNvSpPr/>
          <p:nvPr userDrawn="1"/>
        </p:nvSpPr>
        <p:spPr>
          <a:xfrm>
            <a:off x="1" y="1095374"/>
            <a:ext cx="5242560" cy="576260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914332"/>
            <a:endParaRPr lang="en-US" sz="500" dirty="0">
              <a:solidFill>
                <a:srgbClr val="FFFFFF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C332A627-8433-4FAA-8436-BA986881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944" r="16454"/>
          <a:stretch/>
        </p:blipFill>
        <p:spPr>
          <a:xfrm>
            <a:off x="5904350" y="1095373"/>
            <a:ext cx="3239641" cy="2958363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="" xmlns:a16="http://schemas.microsoft.com/office/drawing/2014/main" id="{B87380DB-356C-4A50-842F-A7F7E6906D39}"/>
              </a:ext>
            </a:extLst>
          </p:cNvPr>
          <p:cNvCxnSpPr>
            <a:cxnSpLocks/>
          </p:cNvCxnSpPr>
          <p:nvPr userDrawn="1"/>
        </p:nvCxnSpPr>
        <p:spPr>
          <a:xfrm flipV="1">
            <a:off x="5242560" y="0"/>
            <a:ext cx="0" cy="4572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896D8F7-C1DB-4421-A5E4-D609C4721D18}"/>
              </a:ext>
            </a:extLst>
          </p:cNvPr>
          <p:cNvCxnSpPr>
            <a:cxnSpLocks/>
          </p:cNvCxnSpPr>
          <p:nvPr userDrawn="1"/>
        </p:nvCxnSpPr>
        <p:spPr>
          <a:xfrm>
            <a:off x="4" y="1095375"/>
            <a:ext cx="9143999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0F1DD92B-8AE6-4A06-8D59-303DA5E6CEED}"/>
              </a:ext>
            </a:extLst>
          </p:cNvPr>
          <p:cNvCxnSpPr>
            <a:cxnSpLocks/>
          </p:cNvCxnSpPr>
          <p:nvPr userDrawn="1"/>
        </p:nvCxnSpPr>
        <p:spPr>
          <a:xfrm>
            <a:off x="5242560" y="4572000"/>
            <a:ext cx="390144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915ADAAF-9005-4B29-86C6-675388A1B9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511899"/>
            <a:ext cx="4341339" cy="1832980"/>
          </a:xfrm>
        </p:spPr>
        <p:txBody>
          <a:bodyPr/>
          <a:lstStyle>
            <a:lvl1pPr>
              <a:lnSpc>
                <a:spcPct val="90000"/>
              </a:lnSpc>
              <a:spcAft>
                <a:spcPts val="5333"/>
              </a:spcAft>
              <a:defRPr sz="5300">
                <a:solidFill>
                  <a:schemeClr val="bg1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="" xmlns:a16="http://schemas.microsoft.com/office/drawing/2014/main" id="{FFEA1FBA-B0EA-4907-A36B-311D07CAF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8402"/>
            <a:ext cx="4341339" cy="292388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800"/>
              </a:spcAft>
              <a:defRPr sz="1900">
                <a:solidFill>
                  <a:schemeClr val="bg1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ate | Location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="" xmlns:a16="http://schemas.microsoft.com/office/drawing/2014/main" id="{46B62D49-D0F5-44D5-9C95-63976523D29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7" name="ADP MAS Executive Overview…">
            <a:extLst>
              <a:ext uri="{FF2B5EF4-FFF2-40B4-BE49-F238E27FC236}">
                <a16:creationId xmlns="" xmlns:a16="http://schemas.microsoft.com/office/drawing/2014/main" id="{FF345AC9-1621-4D6E-A9D1-B9DA3B358A88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/>
              <a:t>Copyright © 201</a:t>
            </a:r>
            <a:r>
              <a:rPr lang="en-US" sz="800" spc="-27" dirty="0"/>
              <a:t>9</a:t>
            </a:r>
            <a:r>
              <a:rPr sz="800" spc="-27" dirty="0"/>
              <a:t> ADP, LLC. </a:t>
            </a:r>
            <a:r>
              <a:rPr lang="en-US" sz="800" spc="-27" dirty="0"/>
              <a:t>ADP </a:t>
            </a:r>
            <a:r>
              <a:rPr sz="800" spc="-27" dirty="0"/>
              <a:t>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9339518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79376CF0-8B72-4E4F-B567-81E888A35A45}"/>
              </a:ext>
            </a:extLst>
          </p:cNvPr>
          <p:cNvSpPr/>
          <p:nvPr userDrawn="1"/>
        </p:nvSpPr>
        <p:spPr>
          <a:xfrm>
            <a:off x="7411721" y="1714501"/>
            <a:ext cx="1468121" cy="1714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914332"/>
            <a:endParaRPr lang="en-US" sz="500" dirty="0">
              <a:solidFill>
                <a:srgbClr val="FFFFFF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="" xmlns:a16="http://schemas.microsoft.com/office/drawing/2014/main" id="{B87380DB-356C-4A50-842F-A7F7E6906D39}"/>
              </a:ext>
            </a:extLst>
          </p:cNvPr>
          <p:cNvCxnSpPr>
            <a:cxnSpLocks/>
          </p:cNvCxnSpPr>
          <p:nvPr userDrawn="1"/>
        </p:nvCxnSpPr>
        <p:spPr>
          <a:xfrm flipV="1">
            <a:off x="5943600" y="-14507"/>
            <a:ext cx="0" cy="6872511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896D8F7-C1DB-4421-A5E4-D609C4721D18}"/>
              </a:ext>
            </a:extLst>
          </p:cNvPr>
          <p:cNvCxnSpPr>
            <a:cxnSpLocks/>
          </p:cNvCxnSpPr>
          <p:nvPr userDrawn="1"/>
        </p:nvCxnSpPr>
        <p:spPr>
          <a:xfrm>
            <a:off x="5943602" y="1714500"/>
            <a:ext cx="3200401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0F1DD92B-8AE6-4A06-8D59-303DA5E6CEED}"/>
              </a:ext>
            </a:extLst>
          </p:cNvPr>
          <p:cNvCxnSpPr>
            <a:cxnSpLocks/>
          </p:cNvCxnSpPr>
          <p:nvPr userDrawn="1"/>
        </p:nvCxnSpPr>
        <p:spPr>
          <a:xfrm>
            <a:off x="5943602" y="3429000"/>
            <a:ext cx="3200401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915ADAAF-9005-4B29-86C6-675388A1B9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511899"/>
            <a:ext cx="5029200" cy="1832980"/>
          </a:xfrm>
        </p:spPr>
        <p:txBody>
          <a:bodyPr/>
          <a:lstStyle>
            <a:lvl1pPr>
              <a:lnSpc>
                <a:spcPct val="90000"/>
              </a:lnSpc>
              <a:spcAft>
                <a:spcPts val="5333"/>
              </a:spcAft>
              <a:defRPr sz="5300">
                <a:solidFill>
                  <a:schemeClr val="accent1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="" xmlns:a16="http://schemas.microsoft.com/office/drawing/2014/main" id="{FFEA1FBA-B0EA-4907-A36B-311D07CAF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8402"/>
            <a:ext cx="5029200" cy="292388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800"/>
              </a:spcAft>
              <a:defRPr sz="1900">
                <a:solidFill>
                  <a:schemeClr val="accent1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 | Locatio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B241549F-1DF9-44AF-A63B-AA2426F2D79B}"/>
              </a:ext>
            </a:extLst>
          </p:cNvPr>
          <p:cNvCxnSpPr>
            <a:cxnSpLocks/>
          </p:cNvCxnSpPr>
          <p:nvPr userDrawn="1"/>
        </p:nvCxnSpPr>
        <p:spPr>
          <a:xfrm flipV="1">
            <a:off x="8879840" y="-14507"/>
            <a:ext cx="0" cy="6872511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44289AFF-9482-4E88-9279-64A3038659F9}"/>
              </a:ext>
            </a:extLst>
          </p:cNvPr>
          <p:cNvCxnSpPr>
            <a:cxnSpLocks/>
          </p:cNvCxnSpPr>
          <p:nvPr userDrawn="1"/>
        </p:nvCxnSpPr>
        <p:spPr>
          <a:xfrm flipV="1">
            <a:off x="7411720" y="-14509"/>
            <a:ext cx="0" cy="3443509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>
            <a:extLst>
              <a:ext uri="{FF2B5EF4-FFF2-40B4-BE49-F238E27FC236}">
                <a16:creationId xmlns="" xmlns:a16="http://schemas.microsoft.com/office/drawing/2014/main" id="{2DA88CFE-BD8D-4DEF-A876-F00F0DB8DD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978" y="2229971"/>
            <a:ext cx="949463" cy="68356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="" xmlns:a16="http://schemas.microsoft.com/office/drawing/2014/main" id="{B41B6748-578E-416F-B05D-C4F964820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2092" t="22116" r="-765"/>
          <a:stretch/>
        </p:blipFill>
        <p:spPr>
          <a:xfrm>
            <a:off x="5943604" y="3429004"/>
            <a:ext cx="2132789" cy="2426121"/>
          </a:xfrm>
          <a:prstGeom prst="rect">
            <a:avLst/>
          </a:prstGeom>
        </p:spPr>
      </p:pic>
      <p:sp>
        <p:nvSpPr>
          <p:cNvPr id="25" name="Slide Number Placeholder 24">
            <a:extLst>
              <a:ext uri="{FF2B5EF4-FFF2-40B4-BE49-F238E27FC236}">
                <a16:creationId xmlns="" xmlns:a16="http://schemas.microsoft.com/office/drawing/2014/main" id="{EF0D2050-68DA-4DAE-A890-B0D8799B5E1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27" name="ADP MAS Executive Overview…">
            <a:extLst>
              <a:ext uri="{FF2B5EF4-FFF2-40B4-BE49-F238E27FC236}">
                <a16:creationId xmlns="" xmlns:a16="http://schemas.microsoft.com/office/drawing/2014/main" id="{57A910C2-70B0-49E3-9931-B9CABA97CE96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>
                <a:solidFill>
                  <a:srgbClr val="222222"/>
                </a:solidFill>
              </a:rPr>
              <a:t>Copyright © 201</a:t>
            </a:r>
            <a:r>
              <a:rPr lang="en-US" sz="800" spc="-27" dirty="0">
                <a:solidFill>
                  <a:srgbClr val="222222"/>
                </a:solidFill>
              </a:rPr>
              <a:t>9</a:t>
            </a:r>
            <a:r>
              <a:rPr sz="800" spc="-27" dirty="0">
                <a:solidFill>
                  <a:srgbClr val="222222"/>
                </a:solidFill>
              </a:rPr>
              <a:t> ADP, LLC. </a:t>
            </a:r>
            <a:r>
              <a:rPr lang="en-US" sz="800" spc="-27" dirty="0">
                <a:solidFill>
                  <a:srgbClr val="222222"/>
                </a:solidFill>
              </a:rPr>
              <a:t>ADP </a:t>
            </a:r>
            <a:r>
              <a:rPr sz="800" spc="-27" dirty="0">
                <a:solidFill>
                  <a:srgbClr val="222222"/>
                </a:solidFill>
              </a:rPr>
              <a:t>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6492498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Cov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F5821A04-4308-4C43-96E0-F88DA4AF5722}"/>
              </a:ext>
            </a:extLst>
          </p:cNvPr>
          <p:cNvSpPr/>
          <p:nvPr userDrawn="1"/>
        </p:nvSpPr>
        <p:spPr>
          <a:xfrm>
            <a:off x="2435704" y="6370320"/>
            <a:ext cx="5000573" cy="487680"/>
          </a:xfrm>
          <a:prstGeom prst="rect">
            <a:avLst/>
          </a:prstGeom>
          <a:solidFill>
            <a:schemeClr val="bg2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5D3D24BF-A0F9-44DA-972F-8C2A31C1C074}"/>
              </a:ext>
            </a:extLst>
          </p:cNvPr>
          <p:cNvSpPr/>
          <p:nvPr userDrawn="1"/>
        </p:nvSpPr>
        <p:spPr>
          <a:xfrm>
            <a:off x="0" y="6370320"/>
            <a:ext cx="3200399" cy="487680"/>
          </a:xfrm>
          <a:prstGeom prst="rect">
            <a:avLst/>
          </a:prstGeom>
          <a:solidFill>
            <a:schemeClr val="accent1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3A091E00-6678-4789-A5A8-EE73F3280C0D}"/>
              </a:ext>
            </a:extLst>
          </p:cNvPr>
          <p:cNvSpPr/>
          <p:nvPr userDrawn="1"/>
        </p:nvSpPr>
        <p:spPr>
          <a:xfrm>
            <a:off x="7411724" y="6370320"/>
            <a:ext cx="744849" cy="487680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85535F3C-1FD4-458E-A97E-008F3544855C}"/>
              </a:ext>
            </a:extLst>
          </p:cNvPr>
          <p:cNvSpPr/>
          <p:nvPr userDrawn="1"/>
        </p:nvSpPr>
        <p:spPr>
          <a:xfrm>
            <a:off x="8156568" y="6370320"/>
            <a:ext cx="987432" cy="487680"/>
          </a:xfrm>
          <a:prstGeom prst="rect">
            <a:avLst/>
          </a:prstGeom>
          <a:solidFill>
            <a:schemeClr val="accent6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0F1DD92B-8AE6-4A06-8D59-303DA5E6CEED}"/>
              </a:ext>
            </a:extLst>
          </p:cNvPr>
          <p:cNvCxnSpPr>
            <a:cxnSpLocks/>
          </p:cNvCxnSpPr>
          <p:nvPr userDrawn="1"/>
        </p:nvCxnSpPr>
        <p:spPr>
          <a:xfrm>
            <a:off x="0" y="5142739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915ADAAF-9005-4B29-86C6-675388A1B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57199" y="2241554"/>
            <a:ext cx="6573513" cy="656591"/>
          </a:xfrm>
        </p:spPr>
        <p:txBody>
          <a:bodyPr anchor="ctr"/>
          <a:lstStyle>
            <a:lvl1pPr>
              <a:lnSpc>
                <a:spcPct val="100000"/>
              </a:lnSpc>
              <a:spcAft>
                <a:spcPts val="1600"/>
              </a:spcAft>
              <a:defRPr sz="4300">
                <a:solidFill>
                  <a:schemeClr val="accent6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44289AFF-9482-4E88-9279-64A3038659F9}"/>
              </a:ext>
            </a:extLst>
          </p:cNvPr>
          <p:cNvCxnSpPr>
            <a:cxnSpLocks/>
          </p:cNvCxnSpPr>
          <p:nvPr userDrawn="1"/>
        </p:nvCxnSpPr>
        <p:spPr>
          <a:xfrm flipV="1">
            <a:off x="7411720" y="-3048"/>
            <a:ext cx="0" cy="6861048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ooter Placeholder 30">
            <a:extLst>
              <a:ext uri="{FF2B5EF4-FFF2-40B4-BE49-F238E27FC236}">
                <a16:creationId xmlns="" xmlns:a16="http://schemas.microsoft.com/office/drawing/2014/main" id="{32738862-8617-4A41-B927-806FF7ADFC2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373407" y="6552609"/>
            <a:ext cx="3884105" cy="12311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="" xmlns:a16="http://schemas.microsoft.com/office/drawing/2014/main" id="{EF1CC44F-7C97-4DC8-873F-F5709B6551E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4" name="Freeform 5">
            <a:extLst>
              <a:ext uri="{FF2B5EF4-FFF2-40B4-BE49-F238E27FC236}">
                <a16:creationId xmlns="" xmlns:a16="http://schemas.microsoft.com/office/drawing/2014/main" id="{6207BB6D-5E37-408E-94B6-99F0BBCAB8B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="" xmlns:a16="http://schemas.microsoft.com/office/drawing/2014/main" id="{523DA7B2-0D35-497D-AC2E-C9EC730668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7569" t="3623" r="5001" b="-2723"/>
          <a:stretch/>
        </p:blipFill>
        <p:spPr>
          <a:xfrm>
            <a:off x="7411720" y="7"/>
            <a:ext cx="1732280" cy="3066172"/>
          </a:xfrm>
          <a:prstGeom prst="rect">
            <a:avLst/>
          </a:prstGeom>
        </p:spPr>
      </p:pic>
      <p:cxnSp>
        <p:nvCxnSpPr>
          <p:cNvPr id="36" name="Straight Connector 35">
            <a:extLst>
              <a:ext uri="{FF2B5EF4-FFF2-40B4-BE49-F238E27FC236}">
                <a16:creationId xmlns="" xmlns:a16="http://schemas.microsoft.com/office/drawing/2014/main" id="{A9160C16-0B21-47E6-A6FF-44CE14EE4F5C}"/>
              </a:ext>
            </a:extLst>
          </p:cNvPr>
          <p:cNvCxnSpPr>
            <a:cxnSpLocks/>
          </p:cNvCxnSpPr>
          <p:nvPr userDrawn="1"/>
        </p:nvCxnSpPr>
        <p:spPr>
          <a:xfrm>
            <a:off x="0" y="637032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ADP MAS Executive Overview…">
            <a:extLst>
              <a:ext uri="{FF2B5EF4-FFF2-40B4-BE49-F238E27FC236}">
                <a16:creationId xmlns="" xmlns:a16="http://schemas.microsoft.com/office/drawing/2014/main" id="{0EC01AB2-D65A-41F8-ABA2-D760F681709C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/>
              <a:t>Copyright © 201</a:t>
            </a:r>
            <a:r>
              <a:rPr lang="en-US" sz="800" spc="-27" dirty="0"/>
              <a:t>9</a:t>
            </a:r>
            <a:r>
              <a:rPr sz="800" spc="-27" dirty="0"/>
              <a:t> ADP, LLC. </a:t>
            </a:r>
            <a:r>
              <a:rPr lang="en-US" sz="800" spc="-27" dirty="0"/>
              <a:t>ADP </a:t>
            </a:r>
            <a:r>
              <a:rPr sz="800" spc="-27" dirty="0"/>
              <a:t>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7712205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="" xmlns:a16="http://schemas.microsoft.com/office/drawing/2014/main" id="{E3F90EBB-EB31-4CC3-B835-C36F4151A84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9144000" cy="3429000"/>
          </a:xfr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F5821A04-4308-4C43-96E0-F88DA4AF5722}"/>
              </a:ext>
            </a:extLst>
          </p:cNvPr>
          <p:cNvSpPr/>
          <p:nvPr userDrawn="1"/>
        </p:nvSpPr>
        <p:spPr>
          <a:xfrm>
            <a:off x="2435704" y="6370320"/>
            <a:ext cx="5000573" cy="487680"/>
          </a:xfrm>
          <a:prstGeom prst="rect">
            <a:avLst/>
          </a:prstGeom>
          <a:solidFill>
            <a:schemeClr val="bg2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5D3D24BF-A0F9-44DA-972F-8C2A31C1C074}"/>
              </a:ext>
            </a:extLst>
          </p:cNvPr>
          <p:cNvSpPr/>
          <p:nvPr userDrawn="1"/>
        </p:nvSpPr>
        <p:spPr>
          <a:xfrm>
            <a:off x="0" y="6370320"/>
            <a:ext cx="3200399" cy="487680"/>
          </a:xfrm>
          <a:prstGeom prst="rect">
            <a:avLst/>
          </a:prstGeom>
          <a:solidFill>
            <a:schemeClr val="accent1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3A091E00-6678-4789-A5A8-EE73F3280C0D}"/>
              </a:ext>
            </a:extLst>
          </p:cNvPr>
          <p:cNvSpPr/>
          <p:nvPr userDrawn="1"/>
        </p:nvSpPr>
        <p:spPr>
          <a:xfrm>
            <a:off x="7411724" y="6370320"/>
            <a:ext cx="744849" cy="487680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85535F3C-1FD4-458E-A97E-008F3544855C}"/>
              </a:ext>
            </a:extLst>
          </p:cNvPr>
          <p:cNvSpPr/>
          <p:nvPr userDrawn="1"/>
        </p:nvSpPr>
        <p:spPr>
          <a:xfrm>
            <a:off x="8156568" y="6370320"/>
            <a:ext cx="987432" cy="487680"/>
          </a:xfrm>
          <a:prstGeom prst="rect">
            <a:avLst/>
          </a:prstGeom>
          <a:solidFill>
            <a:schemeClr val="accent6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0F1DD92B-8AE6-4A06-8D59-303DA5E6CEED}"/>
              </a:ext>
            </a:extLst>
          </p:cNvPr>
          <p:cNvCxnSpPr>
            <a:cxnSpLocks/>
          </p:cNvCxnSpPr>
          <p:nvPr userDrawn="1"/>
        </p:nvCxnSpPr>
        <p:spPr>
          <a:xfrm>
            <a:off x="0" y="342900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915ADAAF-9005-4B29-86C6-675388A1B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57199" y="3788094"/>
            <a:ext cx="6573513" cy="656591"/>
          </a:xfrm>
        </p:spPr>
        <p:txBody>
          <a:bodyPr anchor="t"/>
          <a:lstStyle>
            <a:lvl1pPr>
              <a:lnSpc>
                <a:spcPct val="100000"/>
              </a:lnSpc>
              <a:spcAft>
                <a:spcPts val="1600"/>
              </a:spcAft>
              <a:defRPr sz="4300">
                <a:solidFill>
                  <a:schemeClr val="accent6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44289AFF-9482-4E88-9279-64A3038659F9}"/>
              </a:ext>
            </a:extLst>
          </p:cNvPr>
          <p:cNvCxnSpPr>
            <a:cxnSpLocks/>
          </p:cNvCxnSpPr>
          <p:nvPr userDrawn="1"/>
        </p:nvCxnSpPr>
        <p:spPr>
          <a:xfrm flipV="1">
            <a:off x="7411720" y="3429000"/>
            <a:ext cx="0" cy="3429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ooter Placeholder 30">
            <a:extLst>
              <a:ext uri="{FF2B5EF4-FFF2-40B4-BE49-F238E27FC236}">
                <a16:creationId xmlns="" xmlns:a16="http://schemas.microsoft.com/office/drawing/2014/main" id="{32738862-8617-4A41-B927-806FF7ADFC2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373407" y="6552609"/>
            <a:ext cx="3884105" cy="12311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="" xmlns:a16="http://schemas.microsoft.com/office/drawing/2014/main" id="{EF1CC44F-7C97-4DC8-873F-F5709B6551E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4" name="Freeform 5">
            <a:extLst>
              <a:ext uri="{FF2B5EF4-FFF2-40B4-BE49-F238E27FC236}">
                <a16:creationId xmlns="" xmlns:a16="http://schemas.microsoft.com/office/drawing/2014/main" id="{6207BB6D-5E37-408E-94B6-99F0BBCAB8B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="" xmlns:a16="http://schemas.microsoft.com/office/drawing/2014/main" id="{7CC5AD8D-0522-4C0D-A9E6-7CF2680E1C40}"/>
              </a:ext>
            </a:extLst>
          </p:cNvPr>
          <p:cNvCxnSpPr>
            <a:cxnSpLocks/>
          </p:cNvCxnSpPr>
          <p:nvPr userDrawn="1"/>
        </p:nvCxnSpPr>
        <p:spPr>
          <a:xfrm>
            <a:off x="0" y="637032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ADP MAS Executive Overview…">
            <a:extLst>
              <a:ext uri="{FF2B5EF4-FFF2-40B4-BE49-F238E27FC236}">
                <a16:creationId xmlns="" xmlns:a16="http://schemas.microsoft.com/office/drawing/2014/main" id="{DECAF130-C450-4018-A3E0-883F62CA0131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/>
              <a:t>Copyright © 201</a:t>
            </a:r>
            <a:r>
              <a:rPr lang="en-US" sz="800" spc="-27" dirty="0"/>
              <a:t>9</a:t>
            </a:r>
            <a:r>
              <a:rPr sz="800" spc="-27" dirty="0"/>
              <a:t> ADP, LLC. </a:t>
            </a:r>
            <a:r>
              <a:rPr lang="en-US" sz="800" spc="-27" dirty="0"/>
              <a:t>ADP </a:t>
            </a:r>
            <a:r>
              <a:rPr sz="800" spc="-27" dirty="0"/>
              <a:t>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1897519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Cover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F5821A04-4308-4C43-96E0-F88DA4AF5722}"/>
              </a:ext>
            </a:extLst>
          </p:cNvPr>
          <p:cNvSpPr/>
          <p:nvPr userDrawn="1"/>
        </p:nvSpPr>
        <p:spPr>
          <a:xfrm>
            <a:off x="2435704" y="6370320"/>
            <a:ext cx="5000573" cy="487680"/>
          </a:xfrm>
          <a:prstGeom prst="rect">
            <a:avLst/>
          </a:prstGeom>
          <a:solidFill>
            <a:schemeClr val="bg2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5D3D24BF-A0F9-44DA-972F-8C2A31C1C074}"/>
              </a:ext>
            </a:extLst>
          </p:cNvPr>
          <p:cNvSpPr/>
          <p:nvPr userDrawn="1"/>
        </p:nvSpPr>
        <p:spPr>
          <a:xfrm>
            <a:off x="0" y="6370320"/>
            <a:ext cx="3200399" cy="487680"/>
          </a:xfrm>
          <a:prstGeom prst="rect">
            <a:avLst/>
          </a:prstGeom>
          <a:solidFill>
            <a:schemeClr val="accent1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3A091E00-6678-4789-A5A8-EE73F3280C0D}"/>
              </a:ext>
            </a:extLst>
          </p:cNvPr>
          <p:cNvSpPr/>
          <p:nvPr userDrawn="1"/>
        </p:nvSpPr>
        <p:spPr>
          <a:xfrm>
            <a:off x="7411724" y="6370320"/>
            <a:ext cx="744849" cy="487680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85535F3C-1FD4-458E-A97E-008F3544855C}"/>
              </a:ext>
            </a:extLst>
          </p:cNvPr>
          <p:cNvSpPr/>
          <p:nvPr userDrawn="1"/>
        </p:nvSpPr>
        <p:spPr>
          <a:xfrm>
            <a:off x="8156568" y="6370320"/>
            <a:ext cx="987432" cy="487680"/>
          </a:xfrm>
          <a:prstGeom prst="rect">
            <a:avLst/>
          </a:prstGeom>
          <a:solidFill>
            <a:schemeClr val="accent6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915ADAAF-9005-4B29-86C6-675388A1B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57200" y="1679575"/>
            <a:ext cx="5000573" cy="656591"/>
          </a:xfrm>
        </p:spPr>
        <p:txBody>
          <a:bodyPr anchor="ctr"/>
          <a:lstStyle>
            <a:lvl1pPr>
              <a:lnSpc>
                <a:spcPct val="100000"/>
              </a:lnSpc>
              <a:spcAft>
                <a:spcPts val="1600"/>
              </a:spcAft>
              <a:defRPr sz="4300">
                <a:solidFill>
                  <a:schemeClr val="accent6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44289AFF-9482-4E88-9279-64A3038659F9}"/>
              </a:ext>
            </a:extLst>
          </p:cNvPr>
          <p:cNvCxnSpPr>
            <a:cxnSpLocks/>
          </p:cNvCxnSpPr>
          <p:nvPr userDrawn="1"/>
        </p:nvCxnSpPr>
        <p:spPr>
          <a:xfrm flipV="1">
            <a:off x="7411720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ooter Placeholder 30">
            <a:extLst>
              <a:ext uri="{FF2B5EF4-FFF2-40B4-BE49-F238E27FC236}">
                <a16:creationId xmlns="" xmlns:a16="http://schemas.microsoft.com/office/drawing/2014/main" id="{32738862-8617-4A41-B927-806FF7ADFC2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373407" y="6552609"/>
            <a:ext cx="3884105" cy="12311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="" xmlns:a16="http://schemas.microsoft.com/office/drawing/2014/main" id="{EF1CC44F-7C97-4DC8-873F-F5709B6551E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4" name="Freeform 5">
            <a:extLst>
              <a:ext uri="{FF2B5EF4-FFF2-40B4-BE49-F238E27FC236}">
                <a16:creationId xmlns="" xmlns:a16="http://schemas.microsoft.com/office/drawing/2014/main" id="{6207BB6D-5E37-408E-94B6-99F0BBCAB8B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1AD8FA05-964E-43A7-A539-235996BC5362}"/>
              </a:ext>
            </a:extLst>
          </p:cNvPr>
          <p:cNvCxnSpPr>
            <a:cxnSpLocks/>
          </p:cNvCxnSpPr>
          <p:nvPr userDrawn="1"/>
        </p:nvCxnSpPr>
        <p:spPr>
          <a:xfrm flipV="1">
            <a:off x="5943600" y="-14508"/>
            <a:ext cx="0" cy="6384829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="" xmlns:a16="http://schemas.microsoft.com/office/drawing/2014/main" id="{ADFC0944-010B-4BE3-B006-2F6349C778F9}"/>
              </a:ext>
            </a:extLst>
          </p:cNvPr>
          <p:cNvCxnSpPr>
            <a:cxnSpLocks/>
          </p:cNvCxnSpPr>
          <p:nvPr userDrawn="1"/>
        </p:nvCxnSpPr>
        <p:spPr>
          <a:xfrm>
            <a:off x="0" y="637032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="" xmlns:a16="http://schemas.microsoft.com/office/drawing/2014/main" id="{EAFA84C8-C62C-44AF-9AAF-1AA6348393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634" t="-176" r="10303" b="2837"/>
          <a:stretch/>
        </p:blipFill>
        <p:spPr>
          <a:xfrm>
            <a:off x="5943601" y="3851586"/>
            <a:ext cx="1468120" cy="2518737"/>
          </a:xfrm>
          <a:prstGeom prst="rect">
            <a:avLst/>
          </a:prstGeom>
        </p:spPr>
      </p:pic>
      <p:sp>
        <p:nvSpPr>
          <p:cNvPr id="21" name="ADP MAS Executive Overview…">
            <a:extLst>
              <a:ext uri="{FF2B5EF4-FFF2-40B4-BE49-F238E27FC236}">
                <a16:creationId xmlns="" xmlns:a16="http://schemas.microsoft.com/office/drawing/2014/main" id="{293C33A0-9A41-4794-9798-D48CF1305298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/>
              <a:t>Copyright © 201</a:t>
            </a:r>
            <a:r>
              <a:rPr lang="en-US" sz="800" spc="-27" dirty="0"/>
              <a:t>9</a:t>
            </a:r>
            <a:r>
              <a:rPr sz="800" spc="-27" dirty="0"/>
              <a:t> ADP, LLC. </a:t>
            </a:r>
            <a:r>
              <a:rPr lang="en-US" sz="800" spc="-27" dirty="0"/>
              <a:t>ADP </a:t>
            </a:r>
            <a:r>
              <a:rPr sz="800" spc="-27" dirty="0"/>
              <a:t>Confidential.</a:t>
            </a:r>
          </a:p>
        </p:txBody>
      </p:sp>
    </p:spTree>
    <p:extLst>
      <p:ext uri="{BB962C8B-B14F-4D97-AF65-F5344CB8AC3E}">
        <p14:creationId xmlns:p14="http://schemas.microsoft.com/office/powerpoint/2010/main" val="178766120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F38F4A54-6B7C-48F6-B89B-FAAA9DF491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5471641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7B02EF5A-9206-47E7-B03E-650EFBD798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539883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F5D580AB-4855-4F38-BEC4-BF77649CFF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="" xmlns:a16="http://schemas.microsoft.com/office/drawing/2014/main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93941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6538D556-A6E4-4815-B814-50A4603C86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7143397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A8736175-0B0A-4587-B0C0-F65FAA24AF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350331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F5D580AB-4855-4F38-BEC4-BF77649CFF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="" xmlns:a16="http://schemas.microsoft.com/office/drawing/2014/main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01AFD195-2A60-4777-9988-104D53137C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3" y="935711"/>
            <a:ext cx="7266432" cy="292388"/>
          </a:xfrm>
        </p:spPr>
        <p:txBody>
          <a:bodyPr/>
          <a:lstStyle>
            <a:lvl1pPr algn="l">
              <a:spcBef>
                <a:spcPts val="0"/>
              </a:spcBef>
              <a:spcAft>
                <a:spcPts val="1600"/>
              </a:spcAft>
              <a:defRPr sz="19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500"/>
            </a:lvl4pPr>
            <a:lvl5pPr>
              <a:defRPr sz="300"/>
            </a:lvl5pPr>
          </a:lstStyle>
          <a:p>
            <a:pPr lvl="0"/>
            <a:r>
              <a:rPr lang="en-US" dirty="0"/>
              <a:t>Subtitle in sentence case, 14-p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2969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5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image" Target="../media/image4.emf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0712" y="5867400"/>
            <a:ext cx="1723293" cy="10668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114800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 Placeholder 5"/>
          <p:cNvSpPr txBox="1">
            <a:spLocks/>
          </p:cNvSpPr>
          <p:nvPr/>
        </p:nvSpPr>
        <p:spPr>
          <a:xfrm>
            <a:off x="2391572" y="6523039"/>
            <a:ext cx="4360863" cy="201612"/>
          </a:xfrm>
          <a:prstGeom prst="rect">
            <a:avLst/>
          </a:prstGeom>
        </p:spPr>
        <p:txBody>
          <a:bodyPr lIns="91436" tIns="45718" rIns="91436" bIns="45718"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Copyright © 2016 ADP, LLC. Proprietary and Confidential. 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4114800" y="6246169"/>
            <a:ext cx="609600" cy="23596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/>
            <a:fld id="{D79FCBA7-D3FA-41C7-8C44-48835D5471AF}" type="slidenum">
              <a:rPr lang="en-US" sz="900" smtClean="0">
                <a:solidFill>
                  <a:schemeClr val="tx1"/>
                </a:solidFill>
              </a:rPr>
              <a:pPr algn="ctr"/>
              <a:t>‹#›</a:t>
            </a:fld>
            <a:endParaRPr lang="en-US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3630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48" r:id="rId2"/>
  </p:sldLayoutIdLst>
  <p:timing>
    <p:tnLst>
      <p:par>
        <p:cTn id="1" dur="indefinite" restart="never" nodeType="tmRoot"/>
      </p:par>
    </p:tnLst>
  </p:timing>
  <p:txStyles>
    <p:titleStyle>
      <a:lvl1pPr algn="l" defTabSz="914354" rtl="0" eaLnBrk="1" latinLnBrk="0" hangingPunct="1">
        <a:spcBef>
          <a:spcPct val="0"/>
        </a:spcBef>
        <a:buNone/>
        <a:defRPr lang="en-US" sz="2800" b="1" kern="1200" dirty="0">
          <a:solidFill>
            <a:srgbClr val="626262"/>
          </a:solidFill>
          <a:latin typeface="+mj-lt"/>
          <a:ea typeface="+mj-ea"/>
          <a:cs typeface="+mj-cs"/>
        </a:defRPr>
      </a:lvl1pPr>
    </p:titleStyle>
    <p:bodyStyle>
      <a:lvl1pPr marL="342882" indent="-342882" algn="l" defTabSz="91435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rgbClr val="626262"/>
          </a:solidFill>
          <a:latin typeface="+mn-lt"/>
          <a:ea typeface="+mn-ea"/>
          <a:cs typeface="+mn-cs"/>
        </a:defRPr>
      </a:lvl1pPr>
      <a:lvl2pPr marL="742913" indent="-285737" algn="l" defTabSz="914354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rgbClr val="626262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rgbClr val="626262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rgbClr val="626262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rgbClr val="626262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17F32CDE-32A2-4AA2-B842-D8D167E657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039145434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" name="think-cell Slide" r:id="rId24" imgW="383" imgH="384" progId="TCLayout.ActiveDocument.1">
                  <p:embed/>
                </p:oleObj>
              </mc:Choice>
              <mc:Fallback>
                <p:oleObj name="think-cell Slide" r:id="rId2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3921B097-93EC-48D2-97C7-60BB0027D1D2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F9EE826A-F676-496D-943F-9B579DC9C5AC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57204" y="368527"/>
            <a:ext cx="8229599" cy="57451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C1C97F75-0A19-49AC-8044-279F24B72B40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57200" y="1083786"/>
            <a:ext cx="8229600" cy="18466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3EDCC5A5-085B-425E-AC19-EEF6E91EDEFF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3373404" y="6552609"/>
            <a:ext cx="390144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defTabSz="914332"/>
            <a:r>
              <a:rPr lang="en-US" dirty="0" smtClean="0">
                <a:solidFill>
                  <a:srgbClr val="222222"/>
                </a:solidFill>
              </a:rPr>
              <a:t>Footer in sentence case</a:t>
            </a:r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89F97EA0-7F08-48C2-A1DD-79E84C0F17A8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7724834" y="6552609"/>
            <a:ext cx="11702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332"/>
            <a:fld id="{0C691DA3-4ABE-49F3-91E6-D9975CC9DD5F}" type="slidenum">
              <a:rPr lang="en-US" smtClean="0">
                <a:solidFill>
                  <a:srgbClr val="222222"/>
                </a:solidFill>
              </a:rPr>
              <a:pPr defTabSz="914332"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11" name="ADP MAS Executive Overview…">
            <a:extLst>
              <a:ext uri="{FF2B5EF4-FFF2-40B4-BE49-F238E27FC236}">
                <a16:creationId xmlns="" xmlns:a16="http://schemas.microsoft.com/office/drawing/2014/main" id="{9285B94E-864E-41A4-AF56-DCCA4B3C46BE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>
                <a:solidFill>
                  <a:srgbClr val="222222"/>
                </a:solidFill>
              </a:rPr>
              <a:t>Copyright © 201</a:t>
            </a:r>
            <a:r>
              <a:rPr lang="en-US" sz="800" spc="-27" dirty="0">
                <a:solidFill>
                  <a:srgbClr val="222222"/>
                </a:solidFill>
              </a:rPr>
              <a:t>9</a:t>
            </a:r>
            <a:r>
              <a:rPr sz="800" spc="-27" dirty="0">
                <a:solidFill>
                  <a:srgbClr val="222222"/>
                </a:solidFill>
              </a:rPr>
              <a:t> ADP, LLC. </a:t>
            </a:r>
            <a:r>
              <a:rPr lang="en-US" sz="800" spc="-27" dirty="0">
                <a:solidFill>
                  <a:srgbClr val="222222"/>
                </a:solidFill>
              </a:rPr>
              <a:t>ADP </a:t>
            </a:r>
            <a:r>
              <a:rPr sz="800" spc="-27" dirty="0">
                <a:solidFill>
                  <a:srgbClr val="222222"/>
                </a:solidFill>
              </a:rPr>
              <a:t>Confidential.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="" xmlns:a16="http://schemas.microsoft.com/office/drawing/2014/main" id="{363BDD2D-33BB-4F90-9F7D-439C1ACD8F4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6176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92" r:id="rId17"/>
    <p:sldLayoutId id="2147483793" r:id="rId18"/>
    <p:sldLayoutId id="2147483794" r:id="rId19"/>
  </p:sldLayoutIdLst>
  <p:hf hdr="0" dt="0"/>
  <p:txStyles>
    <p:titleStyle>
      <a:lvl1pPr algn="l" defTabSz="685750" rtl="0" eaLnBrk="1" latinLnBrk="0" hangingPunct="1">
        <a:lnSpc>
          <a:spcPct val="100000"/>
        </a:lnSpc>
        <a:spcBef>
          <a:spcPct val="0"/>
        </a:spcBef>
        <a:buNone/>
        <a:defRPr sz="3700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68575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152388" indent="-152388" algn="l" defTabSz="68575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304776" indent="-152388" algn="l" defTabSz="68575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1"/>
        </a:buClr>
        <a:buFont typeface="Taub Sans" pitchFamily="2" charset="0"/>
        <a:buChar char="◦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685750" rtl="0" eaLnBrk="1" latinLnBrk="0" hangingPunct="1">
        <a:lnSpc>
          <a:spcPct val="100000"/>
        </a:lnSpc>
        <a:spcBef>
          <a:spcPts val="800"/>
        </a:spcBef>
        <a:spcAft>
          <a:spcPts val="1600"/>
        </a:spcAft>
        <a:buFont typeface="Arial" panose="020B0604020202020204" pitchFamily="34" charset="0"/>
        <a:buNone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75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10" indent="-171438" algn="l" defTabSz="6857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3" indent="-171438" algn="l" defTabSz="6857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4" indent="-171438" algn="l" defTabSz="6857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4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50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2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7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4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2160" userDrawn="1">
          <p15:clr>
            <a:srgbClr val="A4A3A4"/>
          </p15:clr>
        </p15:guide>
        <p15:guide id="2" orient="horz" pos="1620" userDrawn="1">
          <p15:clr>
            <a:srgbClr val="A4A3A4"/>
          </p15:clr>
        </p15:guide>
        <p15:guide id="3" pos="216" userDrawn="1">
          <p15:clr>
            <a:srgbClr val="A4A3A4"/>
          </p15:clr>
        </p15:guide>
        <p15:guide id="4" pos="4104" userDrawn="1">
          <p15:clr>
            <a:srgbClr val="A4A3A4"/>
          </p15:clr>
        </p15:guide>
        <p15:guide id="5" orient="horz" pos="324" userDrawn="1">
          <p15:clr>
            <a:srgbClr val="A4A3A4"/>
          </p15:clr>
        </p15:guide>
        <p15:guide id="6" orient="horz" pos="3012" userDrawn="1">
          <p15:clr>
            <a:srgbClr val="A4A3A4"/>
          </p15:clr>
        </p15:guide>
        <p15:guide id="7" pos="1512" userDrawn="1">
          <p15:clr>
            <a:srgbClr val="F26B43"/>
          </p15:clr>
        </p15:guide>
        <p15:guide id="8" pos="2808" userDrawn="1">
          <p15:clr>
            <a:srgbClr val="F26B43"/>
          </p15:clr>
        </p15:guide>
        <p15:guide id="9" orient="horz" pos="8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57EF1DD-207C-4C39-81EC-5973AC0332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771901"/>
            <a:ext cx="4056062" cy="215444"/>
          </a:xfrm>
        </p:spPr>
        <p:txBody>
          <a:bodyPr/>
          <a:lstStyle/>
          <a:p>
            <a:r>
              <a:rPr lang="en-AU" dirty="0" smtClean="0"/>
              <a:t>GV Vietnam Payroll and Time Blueprint Workshop</a:t>
            </a:r>
          </a:p>
        </p:txBody>
      </p:sp>
    </p:spTree>
    <p:extLst>
      <p:ext uri="{BB962C8B-B14F-4D97-AF65-F5344CB8AC3E}">
        <p14:creationId xmlns:p14="http://schemas.microsoft.com/office/powerpoint/2010/main" val="2091899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34975" y="194035"/>
            <a:ext cx="7886700" cy="461665"/>
          </a:xfrm>
        </p:spPr>
        <p:txBody>
          <a:bodyPr/>
          <a:lstStyle/>
          <a:p>
            <a:r>
              <a:rPr lang="en-AU" dirty="0" smtClean="0"/>
              <a:t>Banking / EFT Details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521535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34975" y="194035"/>
            <a:ext cx="7886700" cy="461665"/>
          </a:xfrm>
        </p:spPr>
        <p:txBody>
          <a:bodyPr/>
          <a:lstStyle/>
          <a:p>
            <a:r>
              <a:rPr lang="en-AU" dirty="0" smtClean="0"/>
              <a:t>Payslip Requirements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937650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34975" y="194035"/>
            <a:ext cx="7886700" cy="461665"/>
          </a:xfrm>
        </p:spPr>
        <p:txBody>
          <a:bodyPr/>
          <a:lstStyle/>
          <a:p>
            <a:r>
              <a:rPr lang="en-AU" dirty="0" smtClean="0"/>
              <a:t>Security / Authorisations 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937650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34975" y="194035"/>
            <a:ext cx="7886700" cy="461665"/>
          </a:xfrm>
        </p:spPr>
        <p:txBody>
          <a:bodyPr/>
          <a:lstStyle/>
          <a:p>
            <a:r>
              <a:rPr lang="en-AU" dirty="0" smtClean="0"/>
              <a:t>Data Migration 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937650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02B135BF-1158-4276-8D96-FB9C2419DB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in sentence cas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C5372BA-1349-4B47-A6C9-B2C5CE063D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729644" y="6552609"/>
            <a:ext cx="112210" cy="123111"/>
          </a:xfrm>
        </p:spPr>
        <p:txBody>
          <a:bodyPr/>
          <a:lstStyle/>
          <a:p>
            <a:fld id="{0C691DA3-4ABE-49F3-91E6-D9975CC9DD5F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232" y="270061"/>
            <a:ext cx="7266432" cy="1046440"/>
          </a:xfrm>
        </p:spPr>
        <p:txBody>
          <a:bodyPr/>
          <a:lstStyle/>
          <a:p>
            <a:r>
              <a:rPr lang="en-AU" sz="4400" dirty="0" smtClean="0"/>
              <a:t>Agenda Day 4</a:t>
            </a:r>
            <a:r>
              <a:rPr lang="en-AU" dirty="0"/>
              <a:t/>
            </a:r>
            <a:br>
              <a:rPr lang="en-AU" dirty="0"/>
            </a:br>
            <a:r>
              <a:rPr lang="en-AU" sz="2400" dirty="0" smtClean="0"/>
              <a:t>Thursday 15</a:t>
            </a:r>
            <a:r>
              <a:rPr lang="en-AU" sz="2400" baseline="30000" dirty="0" smtClean="0"/>
              <a:t>th</a:t>
            </a:r>
            <a:r>
              <a:rPr lang="en-AU" sz="2400" dirty="0" smtClean="0"/>
              <a:t> August 2019</a:t>
            </a:r>
            <a:endParaRPr lang="en-US" sz="24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8027111"/>
              </p:ext>
            </p:extLst>
          </p:nvPr>
        </p:nvGraphicFramePr>
        <p:xfrm>
          <a:off x="292309" y="1494436"/>
          <a:ext cx="7847354" cy="383551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90716"/>
                <a:gridCol w="4431658"/>
                <a:gridCol w="1924980"/>
              </a:tblGrid>
              <a:tr h="370840"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Time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Session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Presenter</a:t>
                      </a:r>
                      <a:endParaRPr lang="en-AU" sz="15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15 - 09:3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ap of Previous Day’s Workshop</a:t>
                      </a:r>
                    </a:p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knowledgement to Country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ADP </a:t>
                      </a:r>
                      <a:r>
                        <a:rPr lang="en-AU" sz="1600" baseline="0" dirty="0" smtClean="0"/>
                        <a:t>&amp; RMIT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30 - 12:15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rminations / Redundancies </a:t>
                      </a:r>
                    </a:p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cial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surance </a:t>
                      </a:r>
                    </a:p>
                    <a:p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xation </a:t>
                      </a:r>
                    </a:p>
                    <a:p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roll Special Processing incl. yearly finalisation 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6857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dirty="0" smtClean="0"/>
                        <a:t>Qi Wang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b="0" dirty="0" smtClean="0"/>
                        <a:t>12:15 – 13:00</a:t>
                      </a:r>
                      <a:endParaRPr lang="en-AU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b="0" dirty="0" smtClean="0"/>
                        <a:t>Lunch</a:t>
                      </a:r>
                      <a:endParaRPr lang="en-AU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  <a:tr h="7772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3:00 – 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nking / EFT Details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slip Requirements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curity / Authorisations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Migr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Qi Wang </a:t>
                      </a:r>
                      <a:endParaRPr lang="en-AU" sz="1600" dirty="0"/>
                    </a:p>
                  </a:txBody>
                  <a:tcPr anchor="ctr"/>
                </a:tc>
              </a:tr>
              <a:tr h="381117">
                <a:tc>
                  <a:txBody>
                    <a:bodyPr/>
                    <a:lstStyle/>
                    <a:p>
                      <a:r>
                        <a:rPr lang="en-AU" sz="1600" b="1" dirty="0" smtClean="0"/>
                        <a:t>17:00</a:t>
                      </a:r>
                      <a:endParaRPr lang="en-A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b="1" dirty="0" smtClean="0"/>
                        <a:t>Close</a:t>
                      </a:r>
                      <a:endParaRPr lang="en-A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766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02B135BF-1158-4276-8D96-FB9C2419DB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in sentence cas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C5372BA-1349-4B47-A6C9-B2C5CE063D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729644" y="6552609"/>
            <a:ext cx="112210" cy="123111"/>
          </a:xfrm>
        </p:spPr>
        <p:txBody>
          <a:bodyPr/>
          <a:lstStyle/>
          <a:p>
            <a:fld id="{0C691DA3-4ABE-49F3-91E6-D9975CC9DD5F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232" y="270061"/>
            <a:ext cx="7266432" cy="1046440"/>
          </a:xfrm>
        </p:spPr>
        <p:txBody>
          <a:bodyPr/>
          <a:lstStyle/>
          <a:p>
            <a:r>
              <a:rPr lang="en-AU" sz="4400" dirty="0" smtClean="0"/>
              <a:t>Agenda Day 5</a:t>
            </a:r>
            <a:r>
              <a:rPr lang="en-AU" dirty="0"/>
              <a:t/>
            </a:r>
            <a:br>
              <a:rPr lang="en-AU" dirty="0"/>
            </a:br>
            <a:r>
              <a:rPr lang="en-AU" sz="2400" dirty="0" smtClean="0"/>
              <a:t>Friday 16</a:t>
            </a:r>
            <a:r>
              <a:rPr lang="en-AU" sz="2400" baseline="30000" dirty="0" smtClean="0"/>
              <a:t>th</a:t>
            </a:r>
            <a:r>
              <a:rPr lang="en-AU" sz="2400" dirty="0" smtClean="0"/>
              <a:t> August 2019</a:t>
            </a:r>
            <a:endParaRPr lang="en-US" sz="24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9661032"/>
              </p:ext>
            </p:extLst>
          </p:nvPr>
        </p:nvGraphicFramePr>
        <p:xfrm>
          <a:off x="292309" y="1494436"/>
          <a:ext cx="7847354" cy="18999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90716"/>
                <a:gridCol w="4431658"/>
                <a:gridCol w="1924980"/>
              </a:tblGrid>
              <a:tr h="370840"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Time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Session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Presenter</a:t>
                      </a:r>
                      <a:endParaRPr lang="en-AU" sz="15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15 - 09:3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ap of Previous Day’s Workshop</a:t>
                      </a:r>
                    </a:p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knowledgement to Country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ADP </a:t>
                      </a:r>
                      <a:r>
                        <a:rPr lang="en-AU" sz="1600" baseline="0" dirty="0" smtClean="0"/>
                        <a:t>&amp; RMIT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30 - 12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porting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6857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dirty="0" smtClean="0"/>
                        <a:t>Qi Wang / Bre Dawson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2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Close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07103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5938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E1AEF3A2-0CA0-47CB-B7C3-46784ABE9A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287176"/>
            <a:ext cx="4646951" cy="3434786"/>
          </a:xfrm>
        </p:spPr>
        <p:txBody>
          <a:bodyPr/>
          <a:lstStyle/>
          <a:p>
            <a:r>
              <a:rPr lang="en-US" dirty="0" smtClean="0"/>
              <a:t>Blueprint Workshop  Vietnam – Payroll + Time:</a:t>
            </a:r>
            <a:br>
              <a:rPr lang="en-US" dirty="0" smtClean="0"/>
            </a:br>
            <a:r>
              <a:rPr lang="en-US" sz="3600" dirty="0"/>
              <a:t>Introduction &amp; 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7E0D46E5-AD0E-4B48-93CE-EDC066A1D7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12 - 16 August | Melbourn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154" y="4877865"/>
            <a:ext cx="1851599" cy="653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5928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02B135BF-1158-4276-8D96-FB9C2419DB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in sentence cas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C5372BA-1349-4B47-A6C9-B2C5CE063D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729644" y="6552609"/>
            <a:ext cx="112210" cy="123111"/>
          </a:xfrm>
        </p:spPr>
        <p:txBody>
          <a:bodyPr/>
          <a:lstStyle/>
          <a:p>
            <a:fld id="{0C691DA3-4ABE-49F3-91E6-D9975CC9DD5F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232" y="270061"/>
            <a:ext cx="7266432" cy="1046440"/>
          </a:xfrm>
        </p:spPr>
        <p:txBody>
          <a:bodyPr/>
          <a:lstStyle/>
          <a:p>
            <a:r>
              <a:rPr lang="en-AU" sz="4400" dirty="0" smtClean="0"/>
              <a:t>Agenda Day 4</a:t>
            </a:r>
            <a:r>
              <a:rPr lang="en-AU" dirty="0"/>
              <a:t/>
            </a:r>
            <a:br>
              <a:rPr lang="en-AU" dirty="0"/>
            </a:br>
            <a:r>
              <a:rPr lang="en-AU" sz="2400" dirty="0" smtClean="0"/>
              <a:t>Thursday 15</a:t>
            </a:r>
            <a:r>
              <a:rPr lang="en-AU" sz="2400" baseline="30000" dirty="0" smtClean="0"/>
              <a:t>th</a:t>
            </a:r>
            <a:r>
              <a:rPr lang="en-AU" sz="2400" dirty="0" smtClean="0"/>
              <a:t> August 2019</a:t>
            </a:r>
            <a:endParaRPr lang="en-US" sz="24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7084894"/>
              </p:ext>
            </p:extLst>
          </p:nvPr>
        </p:nvGraphicFramePr>
        <p:xfrm>
          <a:off x="292309" y="1494436"/>
          <a:ext cx="7847354" cy="383551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90716"/>
                <a:gridCol w="4431658"/>
                <a:gridCol w="1924980"/>
              </a:tblGrid>
              <a:tr h="370840"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Time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Session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Presenter</a:t>
                      </a:r>
                      <a:endParaRPr lang="en-AU" sz="15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15 - 09:3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ap of Previous Day’s Workshop</a:t>
                      </a:r>
                    </a:p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knowledgement to Country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ADP </a:t>
                      </a:r>
                      <a:r>
                        <a:rPr lang="en-AU" sz="1600" baseline="0" dirty="0" smtClean="0"/>
                        <a:t>&amp; RMIT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30 - 12:15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rminations / Redundancies </a:t>
                      </a:r>
                    </a:p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cial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surance </a:t>
                      </a:r>
                    </a:p>
                    <a:p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xation </a:t>
                      </a:r>
                    </a:p>
                    <a:p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roll Special Processing incl. yearly finalisation 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6857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dirty="0" smtClean="0"/>
                        <a:t>Qi Wang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2:15 – 13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Lunch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  <a:tr h="7772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3:00 – 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nking / EFT Details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slip Requirements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curity / Authorisations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Migr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Qi Wang </a:t>
                      </a:r>
                      <a:endParaRPr lang="en-AU" sz="1600" dirty="0"/>
                    </a:p>
                  </a:txBody>
                  <a:tcPr anchor="ctr"/>
                </a:tc>
              </a:tr>
              <a:tr h="381117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Close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2277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34975" y="194035"/>
            <a:ext cx="7886700" cy="461665"/>
          </a:xfrm>
        </p:spPr>
        <p:txBody>
          <a:bodyPr/>
          <a:lstStyle/>
          <a:p>
            <a:r>
              <a:rPr lang="en-AU" dirty="0" smtClean="0"/>
              <a:t>Terminations / Redundancies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200657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34975" y="194035"/>
            <a:ext cx="7886700" cy="461665"/>
          </a:xfrm>
        </p:spPr>
        <p:txBody>
          <a:bodyPr/>
          <a:lstStyle/>
          <a:p>
            <a:r>
              <a:rPr lang="en-AU" dirty="0" smtClean="0"/>
              <a:t>Social Insuranc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040552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34975" y="194035"/>
            <a:ext cx="7886700" cy="461665"/>
          </a:xfrm>
        </p:spPr>
        <p:txBody>
          <a:bodyPr/>
          <a:lstStyle/>
          <a:p>
            <a:r>
              <a:rPr lang="en-AU" dirty="0" smtClean="0"/>
              <a:t>Taxatio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47129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34975" y="194035"/>
            <a:ext cx="7886700" cy="461665"/>
          </a:xfrm>
        </p:spPr>
        <p:txBody>
          <a:bodyPr/>
          <a:lstStyle/>
          <a:p>
            <a:r>
              <a:rPr lang="en-AU" dirty="0" smtClean="0"/>
              <a:t>Payroll Special Processing / Year End 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871084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02B135BF-1158-4276-8D96-FB9C2419DB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in sentence cas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C5372BA-1349-4B47-A6C9-B2C5CE063D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729644" y="6552609"/>
            <a:ext cx="112210" cy="123111"/>
          </a:xfrm>
        </p:spPr>
        <p:txBody>
          <a:bodyPr/>
          <a:lstStyle/>
          <a:p>
            <a:fld id="{0C691DA3-4ABE-49F3-91E6-D9975CC9DD5F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232" y="270061"/>
            <a:ext cx="7266432" cy="1046440"/>
          </a:xfrm>
        </p:spPr>
        <p:txBody>
          <a:bodyPr/>
          <a:lstStyle/>
          <a:p>
            <a:r>
              <a:rPr lang="en-AU" sz="4400" dirty="0" smtClean="0"/>
              <a:t>Agenda Day 4</a:t>
            </a:r>
            <a:r>
              <a:rPr lang="en-AU" dirty="0"/>
              <a:t/>
            </a:r>
            <a:br>
              <a:rPr lang="en-AU" dirty="0"/>
            </a:br>
            <a:r>
              <a:rPr lang="en-AU" sz="2400" dirty="0" smtClean="0"/>
              <a:t>Thursday 15</a:t>
            </a:r>
            <a:r>
              <a:rPr lang="en-AU" sz="2400" baseline="30000" dirty="0" smtClean="0"/>
              <a:t>th</a:t>
            </a:r>
            <a:r>
              <a:rPr lang="en-AU" sz="2400" dirty="0" smtClean="0"/>
              <a:t> August 2019</a:t>
            </a:r>
            <a:endParaRPr lang="en-US" sz="24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2061324"/>
              </p:ext>
            </p:extLst>
          </p:nvPr>
        </p:nvGraphicFramePr>
        <p:xfrm>
          <a:off x="292309" y="1494436"/>
          <a:ext cx="7847354" cy="383551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90716"/>
                <a:gridCol w="4431658"/>
                <a:gridCol w="1924980"/>
              </a:tblGrid>
              <a:tr h="370840"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Time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Session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Presenter</a:t>
                      </a:r>
                      <a:endParaRPr lang="en-AU" sz="15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15 - 09:3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ap of Previous Day’s Workshop</a:t>
                      </a:r>
                    </a:p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knowledgement to Country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ADP </a:t>
                      </a:r>
                      <a:r>
                        <a:rPr lang="en-AU" sz="1600" baseline="0" dirty="0" smtClean="0"/>
                        <a:t>&amp; RMIT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30 - 12:15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rminations / Redundancies </a:t>
                      </a:r>
                    </a:p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cial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surance </a:t>
                      </a:r>
                    </a:p>
                    <a:p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xation </a:t>
                      </a:r>
                    </a:p>
                    <a:p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roll Special Processing incl. yearly finalisation 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6857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dirty="0" smtClean="0"/>
                        <a:t>Qi Wang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b="1" dirty="0" smtClean="0"/>
                        <a:t>12:15 – 13:00</a:t>
                      </a:r>
                      <a:endParaRPr lang="en-A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b="1" dirty="0" smtClean="0"/>
                        <a:t>Lunch</a:t>
                      </a:r>
                      <a:endParaRPr lang="en-A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  <a:tr h="7772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3:00 – 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nking / EFT Details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slip Requirements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curity / Authorisations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Migr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Qi Wang </a:t>
                      </a:r>
                      <a:endParaRPr lang="en-AU" sz="1600" dirty="0"/>
                    </a:p>
                  </a:txBody>
                  <a:tcPr anchor="ctr"/>
                </a:tc>
              </a:tr>
              <a:tr h="381117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Close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09035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a9Db7.Q7iFtQ1VbJ8G7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ZbDIeMeNyHBT4ygsfd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XLNGl8K5xtFHyTVFd5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OSMsJr9DKjQsna8BSC4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uhjG.ZSOCWDsqE4ZVd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8Usc_xD6Az2O6gNSoz6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p7lz.4AwDl.JL14fyW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5Gk2_H5_3dPyt9gDGr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gjrhvk9_au34fGmHZ3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cA2fjMdLXI4Syx3Qpr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3a6QO3ODlnKTGpZZGs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DP_Blue Color Palette">
  <a:themeElements>
    <a:clrScheme name="ADP">
      <a:dk1>
        <a:srgbClr val="6F6F73"/>
      </a:dk1>
      <a:lt1>
        <a:sysClr val="window" lastClr="FFFFFF"/>
      </a:lt1>
      <a:dk2>
        <a:srgbClr val="AAA9AA"/>
      </a:dk2>
      <a:lt2>
        <a:srgbClr val="FFFFFF"/>
      </a:lt2>
      <a:accent1>
        <a:srgbClr val="F9A11A"/>
      </a:accent1>
      <a:accent2>
        <a:srgbClr val="CB4399"/>
      </a:accent2>
      <a:accent3>
        <a:srgbClr val="64BEEB"/>
      </a:accent3>
      <a:accent4>
        <a:srgbClr val="C4DA5A"/>
      </a:accent4>
      <a:accent5>
        <a:srgbClr val="AAA9AA"/>
      </a:accent5>
      <a:accent6>
        <a:srgbClr val="BDBBBB"/>
      </a:accent6>
      <a:hlink>
        <a:srgbClr val="0000FF"/>
      </a:hlink>
      <a:folHlink>
        <a:srgbClr val="C4DA5A"/>
      </a:folHlink>
    </a:clrScheme>
    <a:fontScheme name="AD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DP 4:3 (Purple) | SketchDeck">
  <a:themeElements>
    <a:clrScheme name="ADP">
      <a:dk1>
        <a:srgbClr val="222222"/>
      </a:dk1>
      <a:lt1>
        <a:srgbClr val="FFFFFF"/>
      </a:lt1>
      <a:dk2>
        <a:srgbClr val="F2635D"/>
      </a:dk2>
      <a:lt2>
        <a:srgbClr val="EFDFD1"/>
      </a:lt2>
      <a:accent1>
        <a:srgbClr val="D0271D"/>
      </a:accent1>
      <a:accent2>
        <a:srgbClr val="F15C22"/>
      </a:accent2>
      <a:accent3>
        <a:srgbClr val="F9AC83"/>
      </a:accent3>
      <a:accent4>
        <a:srgbClr val="7967AE"/>
      </a:accent4>
      <a:accent5>
        <a:srgbClr val="26328C"/>
      </a:accent5>
      <a:accent6>
        <a:srgbClr val="121C4E"/>
      </a:accent6>
      <a:hlink>
        <a:srgbClr val="7D3420"/>
      </a:hlink>
      <a:folHlink>
        <a:srgbClr val="FAC8BF"/>
      </a:folHlink>
    </a:clrScheme>
    <a:fontScheme name="ADP">
      <a:majorFont>
        <a:latin typeface="Taub Sans"/>
        <a:ea typeface="Taub Sans 050"/>
        <a:cs typeface="Taub Sans 050"/>
      </a:majorFont>
      <a:minorFont>
        <a:latin typeface="Taub Sans"/>
        <a:ea typeface="Helvetica"/>
        <a:cs typeface="Helvetic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19050">
          <a:solidFill>
            <a:schemeClr val="accent5"/>
          </a:solidFill>
        </a:ln>
      </a:spPr>
      <a:bodyPr lIns="0" tIns="0" rIns="0" bIns="0" rtlCol="0" anchor="ctr"/>
      <a:lstStyle>
        <a:defPPr algn="ctr">
          <a:spcAft>
            <a:spcPts val="1200"/>
          </a:spcAft>
          <a:defRPr sz="11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indent="0" algn="l">
          <a:lnSpc>
            <a:spcPct val="100000"/>
          </a:lnSpc>
          <a:spcAft>
            <a:spcPts val="1200"/>
          </a:spcAft>
          <a:buClr>
            <a:schemeClr val="accent1"/>
          </a:buClr>
          <a:buFont typeface="Arial" panose="020B0604020202020204" pitchFamily="34" charset="0"/>
          <a:buNone/>
          <a:defRPr sz="110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esentation7" id="{E2F705C3-C316-3B4B-A126-9F26EDBD4762}" vid="{48CEFB01-613B-3349-955F-5FC944BC269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152</TotalTime>
  <Words>275</Words>
  <Application>Microsoft Office PowerPoint</Application>
  <PresentationFormat>On-screen Show (4:3)</PresentationFormat>
  <Paragraphs>104</Paragraphs>
  <Slides>15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8" baseType="lpstr">
      <vt:lpstr>ADP_Blue Color Palette</vt:lpstr>
      <vt:lpstr>ADP 4:3 (Purple) | SketchDeck</vt:lpstr>
      <vt:lpstr>think-cell Slide</vt:lpstr>
      <vt:lpstr>PowerPoint Presentation</vt:lpstr>
      <vt:lpstr>PowerPoint Presentation</vt:lpstr>
      <vt:lpstr>PowerPoint Presentation</vt:lpstr>
      <vt:lpstr>Agenda Day 4 Thursday 15th August 2019</vt:lpstr>
      <vt:lpstr>PowerPoint Presentation</vt:lpstr>
      <vt:lpstr>PowerPoint Presentation</vt:lpstr>
      <vt:lpstr>PowerPoint Presentation</vt:lpstr>
      <vt:lpstr>PowerPoint Presentation</vt:lpstr>
      <vt:lpstr>Agenda Day 4 Thursday 15th August 2019</vt:lpstr>
      <vt:lpstr>PowerPoint Presentation</vt:lpstr>
      <vt:lpstr>PowerPoint Presentation</vt:lpstr>
      <vt:lpstr>PowerPoint Presentation</vt:lpstr>
      <vt:lpstr>PowerPoint Presentation</vt:lpstr>
      <vt:lpstr>Agenda Day 4 Thursday 15th August 2019</vt:lpstr>
      <vt:lpstr>Agenda Day 5 Friday 16th August 2019</vt:lpstr>
    </vt:vector>
  </TitlesOfParts>
  <Company>Mulle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hley Lulkovitz</dc:creator>
  <cp:lastModifiedBy>Dawson, Bre (ESI)</cp:lastModifiedBy>
  <cp:revision>259</cp:revision>
  <cp:lastPrinted>2019-06-16T06:21:30Z</cp:lastPrinted>
  <dcterms:created xsi:type="dcterms:W3CDTF">2015-05-13T14:54:49Z</dcterms:created>
  <dcterms:modified xsi:type="dcterms:W3CDTF">2019-08-07T06:52:31Z</dcterms:modified>
</cp:coreProperties>
</file>